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58"/>
  </p:normalViewPr>
  <p:slideViewPr>
    <p:cSldViewPr snapToGrid="0">
      <p:cViewPr varScale="1">
        <p:scale>
          <a:sx n="66" d="100"/>
          <a:sy n="66" d="100"/>
        </p:scale>
        <p:origin x="1224" y="2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docProps/app.xml><?xml version="1.0" encoding="utf-8"?>
<Properties xmlns="http://schemas.openxmlformats.org/officeDocument/2006/extended-properties" xmlns:vt="http://schemas.openxmlformats.org/officeDocument/2006/docPropsVTypes">
  <TotalTime>1978</TotalTime>
  <Words>556</Words>
  <Application>Microsoft Office PowerPoint</Application>
  <PresentationFormat>Widescreen</PresentationFormat>
  <Paragraphs>62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9" baseType="lpstr">
      <vt:lpstr>Calibri</vt:lpstr>
      <vt:lpstr>Noto Sans Symbols</vt:lpstr>
      <vt:lpstr>Merriweather Sans</vt:lpstr>
      <vt:lpstr>Courier New</vt:lpstr>
      <vt:lpstr>Quattrocento Sans</vt:lpstr>
      <vt:lpstr>Open Sans</vt:lpstr>
      <vt:lpstr>Arial Black</vt:lpstr>
      <vt:lpstr>Arial</vt:lpstr>
      <vt:lpstr>Verdana</vt:lpstr>
      <vt:lpstr>IEEEUSA-2022</vt:lpstr>
      <vt:lpstr>think-cell Slide</vt:lpstr>
      <vt:lpstr>IEEE-USA Overview and Strategy Alignment </vt:lpstr>
      <vt:lpstr>Who am I?   Barry Tilton, P.E., PMP, SM-IEEE-HKN</vt:lpstr>
      <vt:lpstr>IEEE-USA Mission and Vision </vt:lpstr>
      <vt:lpstr>President-Elect Priorities</vt:lpstr>
      <vt:lpstr>USA Strategic Plan Update Process</vt:lpstr>
      <vt:lpstr>IEEE-USA 2025-2030 Strategy  </vt:lpstr>
      <vt:lpstr>Key questions</vt:lpstr>
      <vt:lpstr>IEEE Strategic Plan Refresh Objectiv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EEE-USA Career and Member Services</dc:title>
  <dc:creator>Hill, Gregory O.</dc:creator>
  <cp:lastModifiedBy>Pat Donohoe</cp:lastModifiedBy>
  <cp:revision>9</cp:revision>
  <dcterms:created xsi:type="dcterms:W3CDTF">2015-03-25T13:12:01Z</dcterms:created>
  <dcterms:modified xsi:type="dcterms:W3CDTF">2025-03-28T17:32:03Z</dcterms:modified>
</cp:coreProperties>
</file>